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9" r:id="rId1"/>
  </p:sldMasterIdLst>
  <p:notesMasterIdLst>
    <p:notesMasterId r:id="rId4"/>
  </p:notesMasterIdLst>
  <p:sldIdLst>
    <p:sldId id="442" r:id="rId2"/>
    <p:sldId id="444" r:id="rId3"/>
  </p:sldIdLst>
  <p:sldSz cx="9144000" cy="5143500" type="screen16x9"/>
  <p:notesSz cx="6858000" cy="9144000"/>
  <p:custDataLst>
    <p:tags r:id="rId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264" userDrawn="1">
          <p15:clr>
            <a:srgbClr val="A4A3A4"/>
          </p15:clr>
        </p15:guide>
        <p15:guide id="3" orient="horz" pos="790" userDrawn="1">
          <p15:clr>
            <a:srgbClr val="A4A3A4"/>
          </p15:clr>
        </p15:guide>
        <p15:guide id="4" orient="horz" pos="2746" userDrawn="1">
          <p15:clr>
            <a:srgbClr val="A4A3A4"/>
          </p15:clr>
        </p15:guide>
        <p15:guide id="5" pos="2832" userDrawn="1">
          <p15:clr>
            <a:srgbClr val="A4A3A4"/>
          </p15:clr>
        </p15:guide>
        <p15:guide id="6" pos="2328" userDrawn="1">
          <p15:clr>
            <a:srgbClr val="A4A3A4"/>
          </p15:clr>
        </p15:guide>
        <p15:guide id="7" pos="156" userDrawn="1">
          <p15:clr>
            <a:srgbClr val="A4A3A4"/>
          </p15:clr>
        </p15:guide>
        <p15:guide id="8" pos="5592" userDrawn="1">
          <p15:clr>
            <a:srgbClr val="A4A3A4"/>
          </p15:clr>
        </p15:guide>
        <p15:guide id="9" orient="horz" pos="387" userDrawn="1">
          <p15:clr>
            <a:srgbClr val="A4A3A4"/>
          </p15:clr>
        </p15:guide>
        <p15:guide id="10" orient="horz" pos="586" userDrawn="1">
          <p15:clr>
            <a:srgbClr val="A4A3A4"/>
          </p15:clr>
        </p15:guide>
        <p15:guide id="11" orient="horz" pos="3012" userDrawn="1">
          <p15:clr>
            <a:srgbClr val="A4A3A4"/>
          </p15:clr>
        </p15:guide>
        <p15:guide id="12" pos="2928" userDrawn="1">
          <p15:clr>
            <a:srgbClr val="A4A3A4"/>
          </p15:clr>
        </p15:guide>
        <p15:guide id="13" orient="horz" pos="3204" userDrawn="1">
          <p15:clr>
            <a:srgbClr val="A4A3A4"/>
          </p15:clr>
        </p15:guide>
        <p15:guide id="14" orient="horz" pos="3132" userDrawn="1">
          <p15:clr>
            <a:srgbClr val="A4A3A4"/>
          </p15:clr>
        </p15:guide>
        <p15:guide id="15" pos="3000" userDrawn="1">
          <p15:clr>
            <a:srgbClr val="A4A3A4"/>
          </p15:clr>
        </p15:guide>
        <p15:guide id="16" pos="480" userDrawn="1">
          <p15:clr>
            <a:srgbClr val="A4A3A4"/>
          </p15:clr>
        </p15:guide>
        <p15:guide id="17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Windows (US - IFS)" initials="" lastIdx="4" clrIdx="0"/>
  <p:cmAuthor id="2" name="Michele Thiede" initials="MT" lastIdx="3" clrIdx="1">
    <p:extLst>
      <p:ext uri="{19B8F6BF-5375-455C-9EA6-DF929625EA0E}">
        <p15:presenceInfo xmlns:p15="http://schemas.microsoft.com/office/powerpoint/2012/main" userId="S-1-5-21-372416507-3140574786-2943197521-3695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EB8C00"/>
    <a:srgbClr val="0070C0"/>
    <a:srgbClr val="968C6D"/>
    <a:srgbClr val="006A51"/>
    <a:srgbClr val="5571B4"/>
    <a:srgbClr val="FFB600"/>
    <a:srgbClr val="000000"/>
    <a:srgbClr val="C00000"/>
    <a:srgbClr val="7D1A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044" autoAdjust="0"/>
    <p:restoredTop sz="73585" autoAdjust="0"/>
  </p:normalViewPr>
  <p:slideViewPr>
    <p:cSldViewPr snapToGrid="0">
      <p:cViewPr varScale="1">
        <p:scale>
          <a:sx n="89" d="100"/>
          <a:sy n="89" d="100"/>
        </p:scale>
        <p:origin x="750" y="90"/>
      </p:cViewPr>
      <p:guideLst>
        <p:guide orient="horz" pos="1620"/>
        <p:guide pos="3264"/>
        <p:guide orient="horz" pos="790"/>
        <p:guide orient="horz" pos="2746"/>
        <p:guide pos="2832"/>
        <p:guide pos="2328"/>
        <p:guide pos="156"/>
        <p:guide pos="5592"/>
        <p:guide orient="horz" pos="387"/>
        <p:guide orient="horz" pos="586"/>
        <p:guide orient="horz" pos="3012"/>
        <p:guide pos="2928"/>
        <p:guide orient="horz" pos="3204"/>
        <p:guide orient="horz" pos="3132"/>
        <p:guide pos="3000"/>
        <p:guide pos="48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0998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defRPr/>
            </a:lvl1pPr>
            <a:lvl2pPr marL="457200" marR="0" lvl="1" indent="0" algn="l" rtl="0">
              <a:spcBef>
                <a:spcPts val="0"/>
              </a:spcBef>
              <a:defRPr/>
            </a:lvl2pPr>
            <a:lvl3pPr marL="914400" marR="0" lvl="2" indent="0" algn="l" rtl="0">
              <a:spcBef>
                <a:spcPts val="0"/>
              </a:spcBef>
              <a:defRPr/>
            </a:lvl3pPr>
            <a:lvl4pPr marL="1371600" marR="0" lvl="3" indent="0" algn="l" rtl="0">
              <a:spcBef>
                <a:spcPts val="0"/>
              </a:spcBef>
              <a:defRPr/>
            </a:lvl4pPr>
            <a:lvl5pPr marL="1828800" marR="0" lvl="4" indent="0" algn="l" rtl="0">
              <a:spcBef>
                <a:spcPts val="0"/>
              </a:spcBef>
              <a:defRPr/>
            </a:lvl5pPr>
            <a:lvl6pPr marL="2286000" marR="0" lvl="5" indent="0" algn="l" rtl="0">
              <a:spcBef>
                <a:spcPts val="0"/>
              </a:spcBef>
              <a:defRPr/>
            </a:lvl6pPr>
            <a:lvl7pPr marL="2743200" marR="0" lvl="6" indent="0" algn="l" rtl="0">
              <a:spcBef>
                <a:spcPts val="0"/>
              </a:spcBef>
              <a:defRPr/>
            </a:lvl7pPr>
            <a:lvl8pPr marL="3200400" marR="0" lvl="7" indent="0" algn="l" rtl="0">
              <a:spcBef>
                <a:spcPts val="0"/>
              </a:spcBef>
              <a:defRPr/>
            </a:lvl8pPr>
            <a:lvl9pPr marL="3657600" marR="0" lvl="8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457200" lvl="1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914400" lvl="2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1371600" lvl="3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1828800" lvl="4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2286000" lvl="5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2743200" lvl="6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3200400" lvl="7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3657600" lvl="8" indent="-88900">
              <a:buClr>
                <a:srgbClr val="000000"/>
              </a:buClr>
              <a:buFont typeface="Noto Symbol"/>
              <a:buChar char="▪"/>
            </a:pPr>
            <a:endParaRPr lang="en-US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13963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0519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9883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Shape 32"/>
          <p:cNvGrpSpPr/>
          <p:nvPr/>
        </p:nvGrpSpPr>
        <p:grpSpPr>
          <a:xfrm>
            <a:off x="1276444" y="4352654"/>
            <a:ext cx="907068" cy="688715"/>
            <a:chOff x="518031" y="-1032696"/>
            <a:chExt cx="6162153" cy="4678771"/>
          </a:xfrm>
        </p:grpSpPr>
        <p:grpSp>
          <p:nvGrpSpPr>
            <p:cNvPr id="33" name="Shape 33"/>
            <p:cNvGrpSpPr/>
            <p:nvPr/>
          </p:nvGrpSpPr>
          <p:grpSpPr>
            <a:xfrm>
              <a:off x="4438638" y="-1032696"/>
              <a:ext cx="2241545" cy="2012184"/>
              <a:chOff x="1905000" y="5715000"/>
              <a:chExt cx="445918" cy="381117"/>
            </a:xfrm>
          </p:grpSpPr>
          <p:sp>
            <p:nvSpPr>
              <p:cNvPr id="34" name="Shape 34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Shape 35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Shape 36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Shape 37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Shape 38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Shape 39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Shape 40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Shape 41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Shape 42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Shape 43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Shape 44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Shape 45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Shape 46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Shape 47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Shape 49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Shape 50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Shape 51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Shape 52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Shape 53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Shape 54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Shape 55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Shape 56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Shape 57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Shape 58"/>
            <p:cNvGrpSpPr/>
            <p:nvPr/>
          </p:nvGrpSpPr>
          <p:grpSpPr>
            <a:xfrm>
              <a:off x="518031" y="978679"/>
              <a:ext cx="4572003" cy="2667394"/>
              <a:chOff x="518031" y="978679"/>
              <a:chExt cx="4572003" cy="2667394"/>
            </a:xfrm>
          </p:grpSpPr>
          <p:sp>
            <p:nvSpPr>
              <p:cNvPr id="59" name="Shape 59"/>
              <p:cNvSpPr/>
              <p:nvPr/>
            </p:nvSpPr>
            <p:spPr>
              <a:xfrm>
                <a:off x="3295650" y="978679"/>
                <a:ext cx="1143000" cy="263100"/>
              </a:xfrm>
              <a:prstGeom prst="rect">
                <a:avLst/>
              </a:prstGeom>
              <a:solidFill>
                <a:srgbClr val="A1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Shape 60"/>
              <p:cNvSpPr/>
              <p:nvPr/>
            </p:nvSpPr>
            <p:spPr>
              <a:xfrm>
                <a:off x="518031" y="1922792"/>
                <a:ext cx="4572003" cy="1723281"/>
              </a:xfrm>
              <a:custGeom>
                <a:avLst/>
                <a:gdLst/>
                <a:ahLst/>
                <a:cxnLst/>
                <a:rect l="0" t="0" r="0" b="0"/>
                <a:pathLst>
                  <a:path w="4127" h="1544" extrusionOk="0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1" name="Shape 61"/>
          <p:cNvSpPr txBox="1">
            <a:spLocks noGrp="1"/>
          </p:cNvSpPr>
          <p:nvPr>
            <p:ph type="ctrTitle"/>
          </p:nvPr>
        </p:nvSpPr>
        <p:spPr>
          <a:xfrm>
            <a:off x="1900200" y="61335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2600"/>
            </a:lvl2pPr>
            <a:lvl3pPr marL="0" marR="0" lvl="2" indent="0" algn="l" rtl="0">
              <a:spcBef>
                <a:spcPts val="0"/>
              </a:spcBef>
              <a:buSzPct val="100000"/>
              <a:defRPr sz="2600"/>
            </a:lvl3pPr>
            <a:lvl4pPr marL="0" marR="0" lvl="3" indent="0" algn="l" rtl="0">
              <a:spcBef>
                <a:spcPts val="0"/>
              </a:spcBef>
              <a:buSzPct val="100000"/>
              <a:defRPr sz="2600"/>
            </a:lvl4pPr>
            <a:lvl5pPr marL="0" marR="0" lvl="4" indent="0" algn="l" rtl="0">
              <a:spcBef>
                <a:spcPts val="0"/>
              </a:spcBef>
              <a:buSzPct val="100000"/>
              <a:defRPr sz="2600"/>
            </a:lvl5pPr>
            <a:lvl6pPr marL="0" marR="0" lvl="5" indent="0" algn="l" rtl="0">
              <a:spcBef>
                <a:spcPts val="0"/>
              </a:spcBef>
              <a:buSzPct val="100000"/>
              <a:defRPr sz="2600"/>
            </a:lvl6pPr>
            <a:lvl7pPr marL="0" marR="0" lvl="6" indent="0" algn="l" rtl="0">
              <a:spcBef>
                <a:spcPts val="0"/>
              </a:spcBef>
              <a:buSzPct val="100000"/>
              <a:defRPr sz="2600"/>
            </a:lvl7pPr>
            <a:lvl8pPr marL="0" marR="0" lvl="7" indent="0" algn="l" rtl="0">
              <a:spcBef>
                <a:spcPts val="0"/>
              </a:spcBef>
              <a:buSzPct val="100000"/>
              <a:defRPr sz="2600"/>
            </a:lvl8pPr>
            <a:lvl9pPr marL="0" marR="0" lvl="8" indent="0" algn="l" rtl="0">
              <a:spcBef>
                <a:spcPts val="0"/>
              </a:spcBef>
              <a:buSzPct val="100000"/>
              <a:defRPr sz="2600"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ubTitle" idx="1"/>
          </p:nvPr>
        </p:nvSpPr>
        <p:spPr>
          <a:xfrm>
            <a:off x="1895475" y="148590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Arial"/>
              <a:buNone/>
              <a:defRPr sz="2600"/>
            </a:lvl9pPr>
          </a:lstStyle>
          <a:p>
            <a:endParaRPr/>
          </a:p>
        </p:txBody>
      </p:sp>
      <p:cxnSp>
        <p:nvCxnSpPr>
          <p:cNvPr id="63" name="Shape 63"/>
          <p:cNvCxnSpPr/>
          <p:nvPr/>
        </p:nvCxnSpPr>
        <p:spPr>
          <a:xfrm rot="10800000" flipH="1">
            <a:off x="1656875" y="457216"/>
            <a:ext cx="6934799" cy="137099"/>
          </a:xfrm>
          <a:prstGeom prst="bentConnector3">
            <a:avLst>
              <a:gd name="adj1" fmla="val 20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Shape 6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latin typeface="Georgia" panose="02040502050405020303" pitchFamily="18" charset="0"/>
              </a:rPr>
              <a:t>.com</a:t>
            </a:r>
          </a:p>
        </p:txBody>
      </p:sp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lt1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3" name="Shape 173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586224" y="514725"/>
            <a:ext cx="80054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549450" y="12001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6" name="Shape 17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rgbClr val="A32020"/>
        </a:solidFill>
        <a:effectLst/>
      </p:bgPr>
    </p:bg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title"/>
          </p:nvPr>
        </p:nvSpPr>
        <p:spPr>
          <a:xfrm>
            <a:off x="618525" y="529650"/>
            <a:ext cx="7789200" cy="3695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body" idx="1"/>
          </p:nvPr>
        </p:nvSpPr>
        <p:spPr>
          <a:xfrm>
            <a:off x="594700" y="1257300"/>
            <a:ext cx="78636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marL="444500" lvl="1" indent="-26670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marL="714375" lvl="2" indent="-269875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marL="984250" lvl="3" indent="-27305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marL="1341437" lvl="4" indent="-274637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marL="1611312" lvl="5" indent="-277812" rtl="0">
              <a:lnSpc>
                <a:spcPct val="128571"/>
              </a:lnSpc>
              <a:spcBef>
                <a:spcPts val="0"/>
              </a:spcBef>
              <a:spcAft>
                <a:spcPts val="60"/>
              </a:spcAft>
              <a:buClr>
                <a:srgbClr val="FFFFFF"/>
              </a:buClr>
              <a:buFont typeface="Arial"/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lnSpc>
                <a:spcPct val="128571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2" name="Shape 18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83" name="Shape 18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5" name="Shape 18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586225" y="4711275"/>
            <a:ext cx="5263200" cy="24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­"/>
              <a:defRPr/>
            </a:lvl1pPr>
            <a:lvl2pPr marL="274320" marR="0" lvl="1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2pPr>
            <a:lvl3pPr marL="548640" marR="0" lvl="2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―"/>
              <a:defRPr/>
            </a:lvl3pPr>
            <a:lvl4pPr marL="822960" marR="0" lvl="3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4pPr>
            <a:lvl5pPr marL="1097280" marR="0" lvl="4" indent="-1066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&gt;"/>
              <a:defRPr/>
            </a:lvl5pPr>
            <a:lvl6pPr marL="274320" marR="0" lvl="5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■"/>
              <a:defRPr/>
            </a:lvl6pPr>
            <a:lvl7pPr marL="548640" marR="0" lvl="6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7pPr>
            <a:lvl8pPr marL="822960" marR="0" lvl="7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8pPr>
            <a:lvl9pPr marL="0" marR="0" lvl="8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 txBox="1">
            <a:spLocks noGrp="1"/>
          </p:cNvSpPr>
          <p:nvPr>
            <p:ph type="body" idx="1"/>
          </p:nvPr>
        </p:nvSpPr>
        <p:spPr>
          <a:xfrm>
            <a:off x="609600" y="1257300"/>
            <a:ext cx="25908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body" idx="2"/>
          </p:nvPr>
        </p:nvSpPr>
        <p:spPr>
          <a:xfrm>
            <a:off x="3200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3"/>
          </p:nvPr>
        </p:nvSpPr>
        <p:spPr>
          <a:xfrm>
            <a:off x="5867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192" name="Shape 192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4" name="Shape 19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95" name="Shape 19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title"/>
          </p:nvPr>
        </p:nvSpPr>
        <p:spPr>
          <a:xfrm>
            <a:off x="3314225" y="514350"/>
            <a:ext cx="52964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1"/>
          </p:nvPr>
        </p:nvSpPr>
        <p:spPr>
          <a:xfrm>
            <a:off x="705975" y="1588425"/>
            <a:ext cx="2708699" cy="208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2"/>
          </p:nvPr>
        </p:nvSpPr>
        <p:spPr>
          <a:xfrm>
            <a:off x="3414675" y="1553437"/>
            <a:ext cx="5195998" cy="2855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200" name="Shape 200"/>
          <p:cNvCxnSpPr/>
          <p:nvPr/>
        </p:nvCxnSpPr>
        <p:spPr>
          <a:xfrm rot="10800000" flipH="1">
            <a:off x="3083225" y="457216"/>
            <a:ext cx="5508299" cy="137099"/>
          </a:xfrm>
          <a:prstGeom prst="bentConnector3">
            <a:avLst>
              <a:gd name="adj1" fmla="val 0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1" name="Shape 201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292473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942914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83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Shape 66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67" name="Shape 67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69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0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Shape 71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Shape 72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Shape 73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Shape 74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Shape 75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Shape 76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Shape 77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" name="Shape 78"/>
          <p:cNvGrpSpPr/>
          <p:nvPr/>
        </p:nvGrpSpPr>
        <p:grpSpPr>
          <a:xfrm>
            <a:off x="488959" y="2187419"/>
            <a:ext cx="1209898" cy="129835"/>
            <a:chOff x="488939" y="2521684"/>
            <a:chExt cx="1209898" cy="151200"/>
          </a:xfrm>
        </p:grpSpPr>
        <p:cxnSp>
          <p:nvCxnSpPr>
            <p:cNvPr id="79" name="Shape 79"/>
            <p:cNvCxnSpPr/>
            <p:nvPr/>
          </p:nvCxnSpPr>
          <p:spPr>
            <a:xfrm rot="10800000">
              <a:off x="488939" y="2521684"/>
              <a:ext cx="1209898" cy="0"/>
            </a:xfrm>
            <a:prstGeom prst="straightConnector1">
              <a:avLst/>
            </a:prstGeom>
            <a:noFill/>
            <a:ln w="12700" cap="flat" cmpd="sng">
              <a:solidFill>
                <a:srgbClr val="000000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80" name="Shape 80"/>
            <p:cNvCxnSpPr/>
            <p:nvPr/>
          </p:nvCxnSpPr>
          <p:spPr>
            <a:xfrm rot="5400000">
              <a:off x="413487" y="2597284"/>
              <a:ext cx="1512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dot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1" name="Shape 81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82" name="Shape 82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Shape 8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custDataLst>
      <p:tags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Shape 88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89" name="Shape 89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Shape 90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Shape 91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0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01" name="Shape 10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Shape 10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04" name="Shape 10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5" name="Shape 10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7391400" y="514350"/>
            <a:ext cx="1752600" cy="4114800"/>
          </a:xfrm>
          <a:prstGeom prst="rect">
            <a:avLst/>
          </a:prstGeom>
          <a:solidFill>
            <a:srgbClr val="EA9696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/>
          <p:nvPr/>
        </p:nvSpPr>
        <p:spPr>
          <a:xfrm>
            <a:off x="1752600" y="0"/>
            <a:ext cx="5638800" cy="514199"/>
          </a:xfrm>
          <a:prstGeom prst="rect">
            <a:avLst/>
          </a:prstGeom>
          <a:solidFill>
            <a:srgbClr val="E06161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/>
          <p:nvPr/>
        </p:nvSpPr>
        <p:spPr>
          <a:xfrm>
            <a:off x="1752600" y="514350"/>
            <a:ext cx="5638800" cy="411480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grpSp>
        <p:nvGrpSpPr>
          <p:cNvPr id="110" name="Shape 11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11" name="Shape 11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3" name="Shape 11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rgbClr val="A32020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subTitle" idx="1"/>
          </p:nvPr>
        </p:nvSpPr>
        <p:spPr>
          <a:xfrm>
            <a:off x="564600" y="1320880"/>
            <a:ext cx="8045999" cy="82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228600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74320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320040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65760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Arial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title"/>
          </p:nvPr>
        </p:nvSpPr>
        <p:spPr>
          <a:xfrm>
            <a:off x="564600" y="497493"/>
            <a:ext cx="80459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37" name="Shape 137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8" name="Shape 138"/>
          <p:cNvSpPr txBox="1">
            <a:spLocks noGrp="1"/>
          </p:cNvSpPr>
          <p:nvPr>
            <p:ph type="body" idx="2"/>
          </p:nvPr>
        </p:nvSpPr>
        <p:spPr>
          <a:xfrm>
            <a:off x="533400" y="2146790"/>
            <a:ext cx="3962399" cy="2482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9" name="Shape 139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4648808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3" name="Shape 14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4" name="Shape 144"/>
          <p:cNvSpPr txBox="1">
            <a:spLocks noGrp="1"/>
          </p:cNvSpPr>
          <p:nvPr>
            <p:ph type="body" idx="2"/>
          </p:nvPr>
        </p:nvSpPr>
        <p:spPr>
          <a:xfrm>
            <a:off x="547266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45" name="Shape 14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8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6" name="Shape 14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7" name="Shape 14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 txBox="1">
            <a:spLocks noGrp="1"/>
          </p:cNvSpPr>
          <p:nvPr>
            <p:ph type="subTitle" idx="1"/>
          </p:nvPr>
        </p:nvSpPr>
        <p:spPr>
          <a:xfrm>
            <a:off x="609600" y="1200150"/>
            <a:ext cx="8001000" cy="108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cxnSp>
        <p:nvCxnSpPr>
          <p:cNvPr id="150" name="Shape 150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Shape 151"/>
          <p:cNvSpPr txBox="1">
            <a:spLocks noGrp="1"/>
          </p:cNvSpPr>
          <p:nvPr>
            <p:ph type="body" idx="2"/>
          </p:nvPr>
        </p:nvSpPr>
        <p:spPr>
          <a:xfrm>
            <a:off x="4725007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2" name="Shape 152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3" name="Shape 153"/>
          <p:cNvSpPr txBox="1">
            <a:spLocks noGrp="1"/>
          </p:cNvSpPr>
          <p:nvPr>
            <p:ph type="body" idx="3"/>
          </p:nvPr>
        </p:nvSpPr>
        <p:spPr>
          <a:xfrm>
            <a:off x="623475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4" name="Shape 15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55" name="Shape 15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 txBox="1">
            <a:spLocks noGrp="1"/>
          </p:cNvSpPr>
          <p:nvPr>
            <p:ph type="subTitle" idx="1"/>
          </p:nvPr>
        </p:nvSpPr>
        <p:spPr>
          <a:xfrm>
            <a:off x="533400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58" name="Shape 158"/>
          <p:cNvSpPr txBox="1">
            <a:spLocks noGrp="1"/>
          </p:cNvSpPr>
          <p:nvPr>
            <p:ph type="body" idx="2"/>
          </p:nvPr>
        </p:nvSpPr>
        <p:spPr>
          <a:xfrm>
            <a:off x="5715000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3"/>
          </p:nvPr>
        </p:nvSpPr>
        <p:spPr>
          <a:xfrm>
            <a:off x="5715000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1" name="Shape 16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Shape 16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63" name="Shape 16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 txBox="1">
            <a:spLocks noGrp="1"/>
          </p:cNvSpPr>
          <p:nvPr>
            <p:ph type="subTitle" idx="1"/>
          </p:nvPr>
        </p:nvSpPr>
        <p:spPr>
          <a:xfrm>
            <a:off x="3240631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body" idx="2"/>
          </p:nvPr>
        </p:nvSpPr>
        <p:spPr>
          <a:xfrm>
            <a:off x="521233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7" name="Shape 167"/>
          <p:cNvSpPr txBox="1">
            <a:spLocks noGrp="1"/>
          </p:cNvSpPr>
          <p:nvPr>
            <p:ph type="body" idx="3"/>
          </p:nvPr>
        </p:nvSpPr>
        <p:spPr>
          <a:xfrm>
            <a:off x="521233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0" name="Shape 170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6185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533400" y="514350"/>
            <a:ext cx="80771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533400" y="13144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­"/>
              <a:defRPr sz="1600">
                <a:latin typeface="Georgia"/>
                <a:ea typeface="Georgia"/>
                <a:cs typeface="Georgia"/>
                <a:sym typeface="Georgia"/>
              </a:defRPr>
            </a:lvl1pPr>
            <a:lvl2pPr marL="274320" marR="0" lvl="1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2pPr>
            <a:lvl3pPr marL="548640" marR="0" lvl="2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―"/>
              <a:defRPr sz="1600">
                <a:latin typeface="Georgia"/>
                <a:ea typeface="Georgia"/>
                <a:cs typeface="Georgia"/>
                <a:sym typeface="Georgia"/>
              </a:defRPr>
            </a:lvl3pPr>
            <a:lvl4pPr marL="822960" marR="0" lvl="3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4pPr>
            <a:lvl5pPr marL="1097280" marR="0" lvl="4" indent="-558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&gt;"/>
              <a:defRPr sz="1600">
                <a:latin typeface="Georgia"/>
                <a:ea typeface="Georgia"/>
                <a:cs typeface="Georgia"/>
                <a:sym typeface="Georgia"/>
              </a:defRPr>
            </a:lvl5pPr>
            <a:lvl6pPr marL="274320" marR="0" lvl="5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6pPr>
            <a:lvl7pPr marL="548640" marR="0" lvl="6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7pPr>
            <a:lvl8pPr marL="822960" marR="0" lvl="7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custDataLst>
      <p:tags r:id="rId19"/>
    </p:custDataLst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7" r:id="rId15"/>
    <p:sldLayoutId id="214748367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2091254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Financial function – NPV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2070708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6619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Financial functions perform various calculations when analyzing investments: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NPV function determines the value of future dollars, in terms of today’s dollars, using a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standard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discount rate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NPV formula is shown here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:</a:t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Determined by calculating the costs (negative cash flows) and benefits (positive cash flows) for each period of an investment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48085" y="3261220"/>
            <a:ext cx="3840480" cy="13952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Payments must be equally spaced in time</a:t>
            </a:r>
          </a:p>
          <a:p>
            <a:pPr marL="13716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an have up to 254 payments</a:t>
            </a:r>
          </a:p>
          <a:p>
            <a:pPr marL="13716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For any cash flow at beginning of first period subtract this value must be added to result</a:t>
            </a:r>
          </a:p>
          <a:p>
            <a:pPr marL="13716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Default is to have each payment occur at end of period</a:t>
            </a:r>
          </a:p>
          <a:p>
            <a:pPr marL="13716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NPV uses the order of values input to determine chronological ordering of cash value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77713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NPV provides a measurement of the profitability of an undertaking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t is an indicator of how much value an investment or project adds to a firm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37377" y="963128"/>
            <a:ext cx="3851189" cy="9618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>
                <a:solidFill>
                  <a:srgbClr val="0070C0"/>
                </a:solidFill>
                <a:latin typeface="Georgia" panose="02040502050405020303" pitchFamily="18" charset="0"/>
              </a:rPr>
              <a:t>NPV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rate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value1,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value2, …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>
                <a:solidFill>
                  <a:srgbClr val="0070C0"/>
                </a:solidFill>
                <a:latin typeface="Georgia" panose="02040502050405020303" pitchFamily="18" charset="0"/>
              </a:rPr>
              <a:t>NPV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(the rate of discount over one period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, payment or income equally spaced in time occurring at end of period,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payment or income equally spaced in time occurring at end of period, …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4"/>
          <a:srcRect l="7485" t="9426" r="2826" b="12552"/>
          <a:stretch/>
        </p:blipFill>
        <p:spPr>
          <a:xfrm>
            <a:off x="2750275" y="1698730"/>
            <a:ext cx="1433800" cy="369768"/>
          </a:xfrm>
          <a:prstGeom prst="rect">
            <a:avLst/>
          </a:prstGeom>
        </p:spPr>
      </p:pic>
      <p:sp>
        <p:nvSpPr>
          <p:cNvPr id="49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4741786" y="4839950"/>
            <a:ext cx="749501" cy="124245"/>
            <a:chOff x="4744137" y="4807866"/>
            <a:chExt cx="749501" cy="124245"/>
          </a:xfrm>
        </p:grpSpPr>
        <p:sp>
          <p:nvSpPr>
            <p:cNvPr id="109" name="Content Placeholder 2"/>
            <p:cNvSpPr txBox="1">
              <a:spLocks/>
            </p:cNvSpPr>
            <p:nvPr/>
          </p:nvSpPr>
          <p:spPr>
            <a:xfrm>
              <a:off x="4744137" y="4807866"/>
              <a:ext cx="289063" cy="124245"/>
            </a:xfrm>
            <a:prstGeom prst="rect">
              <a:avLst/>
            </a:prstGeom>
            <a:solidFill>
              <a:srgbClr val="0070C0"/>
            </a:solidFill>
            <a:ln w="25400">
              <a:noFill/>
            </a:ln>
            <a:effectLst/>
          </p:spPr>
          <p:txBody>
            <a:bodyPr vert="horz" lIns="0" tIns="0" rIns="0" bIns="0" rtlCol="0">
              <a:no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marL="126206" indent="0"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083269" y="4808433"/>
              <a:ext cx="410369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>
                  <a:latin typeface="Georgia" pitchFamily="18" charset="0"/>
                </a:rPr>
                <a:t>Function</a:t>
              </a: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5795620" y="4839950"/>
            <a:ext cx="547522" cy="124245"/>
            <a:chOff x="5639959" y="4807866"/>
            <a:chExt cx="547522" cy="124245"/>
          </a:xfrm>
        </p:grpSpPr>
        <p:sp>
          <p:nvSpPr>
            <p:cNvPr id="107" name="Content Placeholder 2"/>
            <p:cNvSpPr txBox="1">
              <a:spLocks/>
            </p:cNvSpPr>
            <p:nvPr/>
          </p:nvSpPr>
          <p:spPr>
            <a:xfrm>
              <a:off x="5639959" y="4807866"/>
              <a:ext cx="289063" cy="124245"/>
            </a:xfrm>
            <a:prstGeom prst="rect">
              <a:avLst/>
            </a:prstGeom>
            <a:solidFill>
              <a:schemeClr val="accent1"/>
            </a:solidFill>
            <a:ln w="25400">
              <a:noFill/>
            </a:ln>
            <a:effectLst/>
          </p:spPr>
          <p:txBody>
            <a:bodyPr vert="horz" lIns="0" tIns="0" rIns="0" bIns="0" rtlCol="0">
              <a:no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marL="126206" indent="0"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b="1" i="1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5979091" y="4808433"/>
              <a:ext cx="208390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 smtClean="0">
                  <a:latin typeface="Georgia" pitchFamily="18" charset="0"/>
                </a:rPr>
                <a:t>Rate</a:t>
              </a:r>
              <a:endParaRPr lang="en-US" sz="800" dirty="0">
                <a:latin typeface="Georgia" pitchFamily="18" charset="0"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6647475" y="4839950"/>
            <a:ext cx="597216" cy="124245"/>
            <a:chOff x="6750583" y="4807866"/>
            <a:chExt cx="597216" cy="124245"/>
          </a:xfrm>
        </p:grpSpPr>
        <p:sp>
          <p:nvSpPr>
            <p:cNvPr id="105" name="Content Placeholder 2"/>
            <p:cNvSpPr txBox="1">
              <a:spLocks/>
            </p:cNvSpPr>
            <p:nvPr/>
          </p:nvSpPr>
          <p:spPr>
            <a:xfrm>
              <a:off x="6750583" y="4807866"/>
              <a:ext cx="289063" cy="124245"/>
            </a:xfrm>
            <a:prstGeom prst="rect">
              <a:avLst/>
            </a:prstGeom>
            <a:solidFill>
              <a:srgbClr val="FF0066"/>
            </a:solidFill>
            <a:ln w="25400">
              <a:noFill/>
            </a:ln>
            <a:effectLst/>
          </p:spPr>
          <p:txBody>
            <a:bodyPr vert="horz" lIns="0" tIns="0" rIns="0" bIns="0" rtlCol="0">
              <a:no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marL="126206" indent="0">
                <a:buClr>
                  <a:srgbClr val="000000"/>
                </a:buClr>
              </a:pPr>
              <a:endParaRPr lang="en-US" sz="800" dirty="0">
                <a:solidFill>
                  <a:srgbClr val="FF0066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b="1" i="1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7089715" y="4808433"/>
              <a:ext cx="258084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 smtClean="0">
                  <a:latin typeface="Georgia" pitchFamily="18" charset="0"/>
                </a:rPr>
                <a:t>Value</a:t>
              </a:r>
              <a:endParaRPr lang="en-US" sz="800" dirty="0">
                <a:latin typeface="Georgia" pitchFamily="18" charset="0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7549025" y="4839950"/>
            <a:ext cx="597213" cy="124245"/>
            <a:chOff x="7490914" y="4807866"/>
            <a:chExt cx="597213" cy="124245"/>
          </a:xfrm>
        </p:grpSpPr>
        <p:sp>
          <p:nvSpPr>
            <p:cNvPr id="103" name="Content Placeholder 2"/>
            <p:cNvSpPr txBox="1">
              <a:spLocks/>
            </p:cNvSpPr>
            <p:nvPr/>
          </p:nvSpPr>
          <p:spPr>
            <a:xfrm>
              <a:off x="7490914" y="4807866"/>
              <a:ext cx="289063" cy="124245"/>
            </a:xfrm>
            <a:prstGeom prst="rect">
              <a:avLst/>
            </a:prstGeom>
            <a:solidFill>
              <a:schemeClr val="tx1"/>
            </a:solidFill>
            <a:ln w="25400">
              <a:noFill/>
            </a:ln>
            <a:effectLst/>
          </p:spPr>
          <p:txBody>
            <a:bodyPr vert="horz" lIns="0" tIns="0" rIns="0" bIns="0" rtlCol="0">
              <a:no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marL="126206" indent="0">
                <a:buClr>
                  <a:srgbClr val="000000"/>
                </a:buClr>
              </a:pPr>
              <a:endParaRPr lang="en-US" sz="800" dirty="0">
                <a:solidFill>
                  <a:srgbClr val="00B0F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b="1" i="1" dirty="0">
                <a:solidFill>
                  <a:srgbClr val="00B0F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B0F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B0F0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7830043" y="4808433"/>
              <a:ext cx="258084" cy="12311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 smtClean="0">
                  <a:latin typeface="Georgia" pitchFamily="18" charset="0"/>
                </a:rPr>
                <a:t>Value</a:t>
              </a:r>
              <a:endParaRPr lang="en-US" sz="800" dirty="0">
                <a:latin typeface="Georgia" pitchFamily="18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7602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Financial function – IRR 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1079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Financial functions perform various calculations when analyzing investments: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IRR function calculates the discount rate that would return an NPV of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zero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IRR formula is shown here: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Determined using an iterative approach in Excel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6" y="3302803"/>
            <a:ext cx="3840480" cy="13465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itchFamily="18" charset="0"/>
              </a:rPr>
              <a:t>IRR provides you with a rate to compare investments but will not help in understanding the magnitude of profits </a:t>
            </a:r>
            <a:r>
              <a:rPr lang="en-US" sz="1000" dirty="0" smtClean="0">
                <a:solidFill>
                  <a:schemeClr val="bg1"/>
                </a:solidFill>
                <a:latin typeface="Georgia" pitchFamily="18" charset="0"/>
              </a:rPr>
              <a:t>between investments</a:t>
            </a:r>
            <a:endParaRPr lang="en-US" sz="10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itchFamily="18" charset="0"/>
              </a:rPr>
              <a:t>Values must contain at least one positive value and one negative value to calculate the internal rate of return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itchFamily="18" charset="0"/>
              </a:rPr>
              <a:t>IRR should not be used to rate mutually exclusive projec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itchFamily="18" charset="0"/>
              </a:rPr>
              <a:t>IRR uses the order of values to interpret the chronological </a:t>
            </a:r>
            <a:r>
              <a:rPr lang="en-US" sz="10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0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000" dirty="0" smtClean="0">
                <a:solidFill>
                  <a:schemeClr val="bg1"/>
                </a:solidFill>
                <a:latin typeface="Georgia" pitchFamily="18" charset="0"/>
              </a:rPr>
              <a:t>order </a:t>
            </a:r>
            <a:r>
              <a:rPr lang="en-US" sz="1000" dirty="0">
                <a:solidFill>
                  <a:schemeClr val="bg1"/>
                </a:solidFill>
                <a:latin typeface="Georgia" pitchFamily="18" charset="0"/>
              </a:rPr>
              <a:t>of cash flow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RR helps compare the profitability of investmen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ompare capital projects, determine stock buybacks, useful in private equity decision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4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937377" y="963128"/>
            <a:ext cx="3851189" cy="77713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IRR</a:t>
            </a:r>
            <a:r>
              <a:rPr lang="en-US" sz="1200" dirty="0" smtClean="0">
                <a:solidFill>
                  <a:schemeClr val="tx2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 smtClean="0">
                <a:solidFill>
                  <a:schemeClr val="bg2"/>
                </a:solidFill>
                <a:latin typeface="Georgia" panose="02040502050405020303" pitchFamily="18" charset="0"/>
              </a:rPr>
              <a:t>values, 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[</a:t>
            </a:r>
            <a:r>
              <a:rPr lang="en-US" sz="12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guess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])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>
              <a:spcAft>
                <a:spcPts val="30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2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IRR</a:t>
            </a: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200" dirty="0">
                <a:solidFill>
                  <a:schemeClr val="bg2"/>
                </a:solidFill>
                <a:latin typeface="Georgia" panose="02040502050405020303" pitchFamily="18" charset="0"/>
              </a:rPr>
              <a:t>An array containing values to calculate the internal rate of return</a:t>
            </a:r>
            <a:r>
              <a:rPr lang="en-US" sz="1200" dirty="0" smtClean="0">
                <a:solidFill>
                  <a:schemeClr val="bg2"/>
                </a:solidFill>
                <a:latin typeface="Georgia" panose="02040502050405020303" pitchFamily="18" charset="0"/>
              </a:rPr>
              <a:t>,</a:t>
            </a:r>
            <a:r>
              <a:rPr lang="en-US" sz="1200" dirty="0" smtClean="0">
                <a:solidFill>
                  <a:srgbClr val="968C6D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rgbClr val="FF0066"/>
                </a:solidFill>
                <a:latin typeface="Georgia" panose="02040502050405020303" pitchFamily="18" charset="0"/>
              </a:rPr>
              <a:t>an optional estimate of what you think the IRR </a:t>
            </a:r>
            <a:r>
              <a:rPr lang="en-US" sz="12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will be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5558" y="1568751"/>
            <a:ext cx="1074297" cy="286681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4741786" y="4839950"/>
            <a:ext cx="749501" cy="124245"/>
            <a:chOff x="4744137" y="4807866"/>
            <a:chExt cx="749501" cy="124245"/>
          </a:xfrm>
        </p:grpSpPr>
        <p:sp>
          <p:nvSpPr>
            <p:cNvPr id="41" name="Content Placeholder 2"/>
            <p:cNvSpPr txBox="1">
              <a:spLocks/>
            </p:cNvSpPr>
            <p:nvPr/>
          </p:nvSpPr>
          <p:spPr>
            <a:xfrm>
              <a:off x="4744137" y="4807866"/>
              <a:ext cx="289063" cy="124245"/>
            </a:xfrm>
            <a:prstGeom prst="rect">
              <a:avLst/>
            </a:prstGeom>
            <a:solidFill>
              <a:srgbClr val="0070C0"/>
            </a:solidFill>
            <a:ln w="25400">
              <a:noFill/>
            </a:ln>
            <a:effectLst/>
          </p:spPr>
          <p:txBody>
            <a:bodyPr vert="horz" lIns="0" tIns="0" rIns="0" bIns="0" rtlCol="0">
              <a:no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marL="126206" indent="0"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083269" y="4808433"/>
              <a:ext cx="410369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>
                  <a:latin typeface="Georgia" pitchFamily="18" charset="0"/>
                </a:rPr>
                <a:t>Function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795619" y="4839950"/>
            <a:ext cx="547522" cy="124245"/>
            <a:chOff x="5639959" y="4807866"/>
            <a:chExt cx="547522" cy="124245"/>
          </a:xfrm>
        </p:grpSpPr>
        <p:sp>
          <p:nvSpPr>
            <p:cNvPr id="58" name="Content Placeholder 2"/>
            <p:cNvSpPr txBox="1">
              <a:spLocks/>
            </p:cNvSpPr>
            <p:nvPr/>
          </p:nvSpPr>
          <p:spPr>
            <a:xfrm>
              <a:off x="5639959" y="4807866"/>
              <a:ext cx="289063" cy="124245"/>
            </a:xfrm>
            <a:prstGeom prst="rect">
              <a:avLst/>
            </a:prstGeom>
            <a:solidFill>
              <a:schemeClr val="accent1"/>
            </a:solidFill>
            <a:ln w="25400">
              <a:noFill/>
            </a:ln>
            <a:effectLst/>
          </p:spPr>
          <p:txBody>
            <a:bodyPr vert="horz" lIns="0" tIns="0" rIns="0" bIns="0" rtlCol="0">
              <a:no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marL="126206" indent="0"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b="1" i="1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979091" y="4808433"/>
              <a:ext cx="208390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 smtClean="0">
                  <a:latin typeface="Georgia" pitchFamily="18" charset="0"/>
                </a:rPr>
                <a:t>Rate</a:t>
              </a:r>
              <a:endParaRPr lang="en-US" sz="800" dirty="0">
                <a:latin typeface="Georgia" pitchFamily="18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647475" y="4839950"/>
            <a:ext cx="1065293" cy="124245"/>
            <a:chOff x="6750583" y="4807866"/>
            <a:chExt cx="1065293" cy="124245"/>
          </a:xfrm>
        </p:grpSpPr>
        <p:sp>
          <p:nvSpPr>
            <p:cNvPr id="62" name="Content Placeholder 2"/>
            <p:cNvSpPr txBox="1">
              <a:spLocks/>
            </p:cNvSpPr>
            <p:nvPr/>
          </p:nvSpPr>
          <p:spPr>
            <a:xfrm>
              <a:off x="6750583" y="4807866"/>
              <a:ext cx="289063" cy="124245"/>
            </a:xfrm>
            <a:prstGeom prst="rect">
              <a:avLst/>
            </a:prstGeom>
            <a:solidFill>
              <a:srgbClr val="FF0066"/>
            </a:solidFill>
            <a:ln w="25400">
              <a:noFill/>
            </a:ln>
            <a:effectLst/>
          </p:spPr>
          <p:txBody>
            <a:bodyPr vert="horz" lIns="0" tIns="0" rIns="0" bIns="0" rtlCol="0">
              <a:no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marL="126206" indent="0">
                <a:buClr>
                  <a:srgbClr val="000000"/>
                </a:buClr>
              </a:pPr>
              <a:endParaRPr lang="en-US" sz="800" dirty="0">
                <a:solidFill>
                  <a:srgbClr val="FF0066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b="1" i="1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</a:pP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089715" y="4808433"/>
              <a:ext cx="726161" cy="12311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indent="-205740">
                <a:spcAft>
                  <a:spcPts val="675"/>
                </a:spcAft>
              </a:pPr>
              <a:r>
                <a:rPr lang="en-US" sz="800" dirty="0" smtClean="0">
                  <a:latin typeface="Georgia" pitchFamily="18" charset="0"/>
                </a:rPr>
                <a:t>Estimate of IRR</a:t>
              </a:r>
              <a:endParaRPr lang="en-US" sz="800" dirty="0">
                <a:latin typeface="Georgia" pitchFamily="18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78389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7"/>
  <p:tag name="ARTICULATE_PROJECT_OPEN" val="0"/>
  <p:tag name="ARTICULATE_SLIDE_THUMBNAIL_REFRESH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wC">
  <a:themeElements>
    <a:clrScheme name="hyperlink1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FFFFFF"/>
      </a:hlink>
      <a:folHlink>
        <a:srgbClr val="A320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42</TotalTime>
  <Words>344</Words>
  <Application>Microsoft Office PowerPoint</Application>
  <PresentationFormat>On-screen Show (16:9)</PresentationFormat>
  <Paragraphs>5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ourier New</vt:lpstr>
      <vt:lpstr>Georgia</vt:lpstr>
      <vt:lpstr>Noto Symbol</vt:lpstr>
      <vt:lpstr>PwC</vt:lpstr>
      <vt:lpstr>think-cell Slide</vt:lpstr>
      <vt:lpstr>Financial function – NPV function</vt:lpstr>
      <vt:lpstr>Financial function – IRR func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with excel</dc:title>
  <dc:creator>Deborah Carter</dc:creator>
  <cp:lastModifiedBy>Michele Thiede</cp:lastModifiedBy>
  <cp:revision>375</cp:revision>
  <dcterms:modified xsi:type="dcterms:W3CDTF">2016-10-23T13:1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401AECB-C230-465C-8D95-8D784E59B772</vt:lpwstr>
  </property>
  <property fmtid="{D5CDD505-2E9C-101B-9397-08002B2CF9AE}" pid="3" name="ArticulatePath">
    <vt:lpwstr>Digital Assets Problem Solving with Excel</vt:lpwstr>
  </property>
</Properties>
</file>